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6" r:id="rId2"/>
  </p:sldMasterIdLst>
  <p:notesMasterIdLst>
    <p:notesMasterId r:id="rId30"/>
  </p:notesMasterIdLst>
  <p:sldIdLst>
    <p:sldId id="259" r:id="rId3"/>
    <p:sldId id="382" r:id="rId4"/>
    <p:sldId id="428" r:id="rId5"/>
    <p:sldId id="458" r:id="rId6"/>
    <p:sldId id="409" r:id="rId7"/>
    <p:sldId id="303" r:id="rId8"/>
    <p:sldId id="317" r:id="rId9"/>
    <p:sldId id="460" r:id="rId10"/>
    <p:sldId id="313" r:id="rId11"/>
    <p:sldId id="471" r:id="rId12"/>
    <p:sldId id="468" r:id="rId13"/>
    <p:sldId id="300" r:id="rId14"/>
    <p:sldId id="461" r:id="rId15"/>
    <p:sldId id="462" r:id="rId16"/>
    <p:sldId id="304" r:id="rId17"/>
    <p:sldId id="305" r:id="rId18"/>
    <p:sldId id="316" r:id="rId19"/>
    <p:sldId id="463" r:id="rId20"/>
    <p:sldId id="469" r:id="rId21"/>
    <p:sldId id="448" r:id="rId22"/>
    <p:sldId id="470" r:id="rId23"/>
    <p:sldId id="465" r:id="rId24"/>
    <p:sldId id="467" r:id="rId25"/>
    <p:sldId id="423" r:id="rId26"/>
    <p:sldId id="401" r:id="rId27"/>
    <p:sldId id="466" r:id="rId28"/>
    <p:sldId id="280" r:id="rId29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3741545-B06E-9030-0D33-16772E4A055B}" name="Desilets, Rose" initials="DR" userId="S::RDESILETS@PARTNERS.ORG::49560a7b-b4e1-4c9c-9697-5f334620b403" providerId="AD"/>
  <p188:author id="{52C556D9-A173-CDAC-0474-E19498C8E486}" name="Alley, Michelle" initials="AM" userId="S::MALLEY2@PARTNERS.ORG::2bf1802d-b022-4f95-952b-f37ef995ba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ily Welch" initials="EW" lastIdx="5" clrIdx="0">
    <p:extLst>
      <p:ext uri="{19B8F6BF-5375-455C-9EA6-DF929625EA0E}">
        <p15:presenceInfo xmlns:p15="http://schemas.microsoft.com/office/powerpoint/2012/main" userId="Emily Welch" providerId="None"/>
      </p:ext>
    </p:extLst>
  </p:cmAuthor>
  <p:cmAuthor id="2" name="Desilets, Rose" initials="DR" lastIdx="1" clrIdx="1">
    <p:extLst>
      <p:ext uri="{19B8F6BF-5375-455C-9EA6-DF929625EA0E}">
        <p15:presenceInfo xmlns:p15="http://schemas.microsoft.com/office/powerpoint/2012/main" userId="S::RDESILETS@PARTNERS.ORG::49560a7b-b4e1-4c9c-9697-5f334620b403" providerId="AD"/>
      </p:ext>
    </p:extLst>
  </p:cmAuthor>
  <p:cmAuthor id="3" name="Gelardi, Mary" initials="GM" lastIdx="1" clrIdx="2">
    <p:extLst>
      <p:ext uri="{19B8F6BF-5375-455C-9EA6-DF929625EA0E}">
        <p15:presenceInfo xmlns:p15="http://schemas.microsoft.com/office/powerpoint/2012/main" userId="Gelardi, Mar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77" autoAdjust="0"/>
    <p:restoredTop sz="95214" autoAdjust="0"/>
  </p:normalViewPr>
  <p:slideViewPr>
    <p:cSldViewPr snapToGrid="0" snapToObjects="1">
      <p:cViewPr varScale="1">
        <p:scale>
          <a:sx n="82" d="100"/>
          <a:sy n="82" d="100"/>
        </p:scale>
        <p:origin x="1142" y="5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8/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chel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203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update with new d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38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update with new d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0190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75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95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953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9009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219480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226014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602215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38634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174804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753308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4187396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171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932110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81302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1245530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40298635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0841710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684953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2564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99710-D2D4-ACC1-0CA8-5CE490958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DF077-8A00-3D75-E0A5-361CA3C3E8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1AEA54-4D19-9AEF-B3B2-3490E039C3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2B7D3-E510-4078-BBB6-6800B9D5CB35}" type="datetimeFigureOut">
              <a:rPr lang="en-US" smtClean="0"/>
              <a:t>8/8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B4247-95BB-FA53-E899-57575DECE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97F52-8798-F0B5-5EE6-572735D9B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D7A51-B5A3-4FF8-A445-1FF121A338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438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ss General Brigham Office of Continuing Professional Development  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4475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mailto:mgbcpd@mgb.org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linkedin.com/showcase/mass-general-brigham-office-of-continuing-professional-development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cpd.partners.org/series-coordinators" TargetMode="Externa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hyperlink" Target="mailto:mgbcpd@mgb.org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partners.zoom.us/j/85164198890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cpd.partners.org/series-coordinators" TargetMode="Externa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5" Type="http://schemas.openxmlformats.org/officeDocument/2006/relationships/hyperlink" Target="https://partnershealthcare.sharepoint.com/sites/VitalsSystemwideGrandRounds" TargetMode="Externa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3627" y="1748090"/>
            <a:ext cx="9522781" cy="2447392"/>
          </a:xfrm>
        </p:spPr>
        <p:txBody>
          <a:bodyPr/>
          <a:lstStyle/>
          <a:p>
            <a:pPr algn="ctr"/>
            <a:r>
              <a:rPr lang="en-US" dirty="0"/>
              <a:t>Systemwide Grand Rounds</a:t>
            </a:r>
            <a:br>
              <a:rPr lang="en-US" dirty="0"/>
            </a:br>
            <a:r>
              <a:rPr lang="en-US" dirty="0"/>
              <a:t>Foru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608" y="5082010"/>
            <a:ext cx="9522781" cy="737220"/>
          </a:xfrm>
        </p:spPr>
        <p:txBody>
          <a:bodyPr/>
          <a:lstStyle/>
          <a:p>
            <a:r>
              <a:rPr lang="en-US" dirty="0"/>
              <a:t>Continuing Professional Development</a:t>
            </a:r>
            <a:br>
              <a:rPr lang="en-US" dirty="0"/>
            </a:br>
            <a:r>
              <a:rPr lang="en-US" dirty="0"/>
              <a:t>August 8, 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/>
              <a:t>Confidential—do not copy or distribu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03C626-3712-45EF-B22B-352AC934D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1548" y="3615676"/>
            <a:ext cx="2937575" cy="261855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6BE83-7C71-A206-ED55-4876BED5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368734"/>
            <a:ext cx="10902950" cy="956516"/>
          </a:xfrm>
        </p:spPr>
        <p:txBody>
          <a:bodyPr/>
          <a:lstStyle/>
          <a:p>
            <a:r>
              <a:rPr lang="en-US" dirty="0"/>
              <a:t>Process Ma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EC1B4F-F0D4-2E0B-9903-46CC8A3F5A9B}"/>
              </a:ext>
            </a:extLst>
          </p:cNvPr>
          <p:cNvSpPr/>
          <p:nvPr/>
        </p:nvSpPr>
        <p:spPr>
          <a:xfrm>
            <a:off x="2944555" y="917510"/>
            <a:ext cx="1373363" cy="15693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partment coordinator gathers session inform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B9B348-8042-8204-0B43-69D0C7623EDB}"/>
              </a:ext>
            </a:extLst>
          </p:cNvPr>
          <p:cNvSpPr/>
          <p:nvPr/>
        </p:nvSpPr>
        <p:spPr>
          <a:xfrm>
            <a:off x="4609716" y="917510"/>
            <a:ext cx="1373363" cy="15693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ETHO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Department coordinator enters session inform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F6D356-6638-6EDC-6B58-61D01586E0D7}"/>
              </a:ext>
            </a:extLst>
          </p:cNvPr>
          <p:cNvSpPr/>
          <p:nvPr/>
        </p:nvSpPr>
        <p:spPr>
          <a:xfrm>
            <a:off x="4609716" y="4655375"/>
            <a:ext cx="1373363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VITAL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views Series opportunities and sees how to particip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07D1BE-24F7-51D0-EFEE-45B2700F810F}"/>
              </a:ext>
            </a:extLst>
          </p:cNvPr>
          <p:cNvSpPr/>
          <p:nvPr/>
        </p:nvSpPr>
        <p:spPr>
          <a:xfrm>
            <a:off x="1279394" y="4668834"/>
            <a:ext cx="1373363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PD or MGB sends out message/ promotion (Vitals, Tidbit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29BC9F-4AD2-CE0D-3055-B948E1402955}"/>
              </a:ext>
            </a:extLst>
          </p:cNvPr>
          <p:cNvSpPr/>
          <p:nvPr/>
        </p:nvSpPr>
        <p:spPr>
          <a:xfrm>
            <a:off x="2944555" y="4657951"/>
            <a:ext cx="1373363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ROMOT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at community hospital sees message/ promo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BF2E21-2EE6-1DFE-415B-367BFE2C7B11}"/>
              </a:ext>
            </a:extLst>
          </p:cNvPr>
          <p:cNvSpPr/>
          <p:nvPr/>
        </p:nvSpPr>
        <p:spPr>
          <a:xfrm>
            <a:off x="6274877" y="4661703"/>
            <a:ext cx="1373363" cy="15693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ESS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attends session on Zoom or other virtual meeting platfor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EED9A1-CC96-09E7-93A5-D6B1D82A0AC9}"/>
              </a:ext>
            </a:extLst>
          </p:cNvPr>
          <p:cNvSpPr/>
          <p:nvPr/>
        </p:nvSpPr>
        <p:spPr>
          <a:xfrm>
            <a:off x="7940038" y="4652799"/>
            <a:ext cx="1373363" cy="15693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EXT CODE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texts code for attendance and credi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4398FF-3942-B5A7-4210-F468F424EBB8}"/>
              </a:ext>
            </a:extLst>
          </p:cNvPr>
          <p:cNvSpPr/>
          <p:nvPr/>
        </p:nvSpPr>
        <p:spPr>
          <a:xfrm>
            <a:off x="9605200" y="4661703"/>
            <a:ext cx="1373363" cy="15693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ME CREDIT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receives CME credit and is now on the series participant list in Etho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92BF899-2C8F-506A-5E80-3BBCB6FCE960}"/>
              </a:ext>
            </a:extLst>
          </p:cNvPr>
          <p:cNvCxnSpPr>
            <a:cxnSpLocks/>
            <a:stCxn id="6" idx="2"/>
            <a:endCxn id="16" idx="0"/>
          </p:cNvCxnSpPr>
          <p:nvPr/>
        </p:nvCxnSpPr>
        <p:spPr>
          <a:xfrm>
            <a:off x="5296398" y="2486896"/>
            <a:ext cx="0" cy="2964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426D4EF-2B7C-52FF-2175-E9026A109A1C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4317918" y="1702203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EEA0847-273A-9930-8825-E02510CC2C9E}"/>
              </a:ext>
            </a:extLst>
          </p:cNvPr>
          <p:cNvCxnSpPr/>
          <p:nvPr/>
        </p:nvCxnSpPr>
        <p:spPr>
          <a:xfrm>
            <a:off x="2652757" y="5442970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6AC7347-4379-DDDA-D36C-FF7B6DE11764}"/>
              </a:ext>
            </a:extLst>
          </p:cNvPr>
          <p:cNvCxnSpPr/>
          <p:nvPr/>
        </p:nvCxnSpPr>
        <p:spPr>
          <a:xfrm>
            <a:off x="4317918" y="5442970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3422C98-12FE-5594-417D-55B48EB46DF5}"/>
              </a:ext>
            </a:extLst>
          </p:cNvPr>
          <p:cNvCxnSpPr/>
          <p:nvPr/>
        </p:nvCxnSpPr>
        <p:spPr>
          <a:xfrm>
            <a:off x="5983079" y="5443891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600FEB1-70FD-6A27-5782-F7D2934D959C}"/>
              </a:ext>
            </a:extLst>
          </p:cNvPr>
          <p:cNvCxnSpPr/>
          <p:nvPr/>
        </p:nvCxnSpPr>
        <p:spPr>
          <a:xfrm>
            <a:off x="7648240" y="5443891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142C2B0-A4D3-CDFE-0364-5503760C9D6A}"/>
              </a:ext>
            </a:extLst>
          </p:cNvPr>
          <p:cNvCxnSpPr/>
          <p:nvPr/>
        </p:nvCxnSpPr>
        <p:spPr>
          <a:xfrm>
            <a:off x="9313402" y="5456619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D51EED5-4F63-77A4-D6EE-427C19E9423F}"/>
              </a:ext>
            </a:extLst>
          </p:cNvPr>
          <p:cNvSpPr/>
          <p:nvPr/>
        </p:nvSpPr>
        <p:spPr>
          <a:xfrm>
            <a:off x="9313402" y="1552615"/>
            <a:ext cx="1774019" cy="56851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Existing process. Has been modified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F0C88C9-BB0A-E29A-3218-D0403F1A08FA}"/>
              </a:ext>
            </a:extLst>
          </p:cNvPr>
          <p:cNvSpPr/>
          <p:nvPr/>
        </p:nvSpPr>
        <p:spPr>
          <a:xfrm>
            <a:off x="9313402" y="2269313"/>
            <a:ext cx="1774019" cy="5636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Existing process. 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No change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9AF96A2-7EEB-12D5-A3FA-30CD61D58873}"/>
              </a:ext>
            </a:extLst>
          </p:cNvPr>
          <p:cNvSpPr/>
          <p:nvPr/>
        </p:nvSpPr>
        <p:spPr>
          <a:xfrm>
            <a:off x="9313401" y="2965959"/>
            <a:ext cx="1774019" cy="5636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ew process as of July 2024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1F59FB-D226-5F1E-29AE-C3E06CBC12FF}"/>
              </a:ext>
            </a:extLst>
          </p:cNvPr>
          <p:cNvSpPr/>
          <p:nvPr/>
        </p:nvSpPr>
        <p:spPr>
          <a:xfrm>
            <a:off x="4609717" y="2783300"/>
            <a:ext cx="1373362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MANUAL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CPD staff adds session to Vitals pag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FD7F548-77B5-1D5F-DA55-3C0F47869C94}"/>
              </a:ext>
            </a:extLst>
          </p:cNvPr>
          <p:cNvCxnSpPr>
            <a:cxnSpLocks/>
            <a:stCxn id="16" idx="2"/>
          </p:cNvCxnSpPr>
          <p:nvPr/>
        </p:nvCxnSpPr>
        <p:spPr>
          <a:xfrm flipH="1">
            <a:off x="5296397" y="4352686"/>
            <a:ext cx="1" cy="30526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41AD503-6FB3-9B4C-11AA-6387F276B5B8}"/>
              </a:ext>
            </a:extLst>
          </p:cNvPr>
          <p:cNvSpPr/>
          <p:nvPr/>
        </p:nvSpPr>
        <p:spPr>
          <a:xfrm>
            <a:off x="4478694" y="774441"/>
            <a:ext cx="1617306" cy="55983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692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0F8A6-97C4-044A-6849-62CF56556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ing to Vitals Proces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AE3950-93E6-F6F4-8B9F-C46822D88FD9}"/>
              </a:ext>
            </a:extLst>
          </p:cNvPr>
          <p:cNvGrpSpPr/>
          <p:nvPr/>
        </p:nvGrpSpPr>
        <p:grpSpPr>
          <a:xfrm>
            <a:off x="2579343" y="1696946"/>
            <a:ext cx="7220290" cy="2255556"/>
            <a:chOff x="1890052" y="1696946"/>
            <a:chExt cx="7220290" cy="225555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6799F4-B3A9-A3C1-1A0B-04A9694C0073}"/>
                </a:ext>
              </a:extLst>
            </p:cNvPr>
            <p:cNvSpPr/>
            <p:nvPr/>
          </p:nvSpPr>
          <p:spPr>
            <a:xfrm>
              <a:off x="1890052" y="1696946"/>
              <a:ext cx="1997560" cy="2255556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Department coordinator submits session on Ethos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F5F58CB-8866-C464-BE06-B33B21CD2EEC}"/>
                </a:ext>
              </a:extLst>
            </p:cNvPr>
            <p:cNvSpPr/>
            <p:nvPr/>
          </p:nvSpPr>
          <p:spPr>
            <a:xfrm>
              <a:off x="4562816" y="1696946"/>
              <a:ext cx="1997560" cy="2255556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Session is in one of these statuses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“Ready for Review”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“Feedback”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tx1"/>
                  </a:solidFill>
                </a:rPr>
                <a:t>“Approved”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942418D-CBEA-1760-225D-B2EA4DD27CA9}"/>
                </a:ext>
              </a:extLst>
            </p:cNvPr>
            <p:cNvSpPr/>
            <p:nvPr/>
          </p:nvSpPr>
          <p:spPr>
            <a:xfrm>
              <a:off x="7112782" y="1696946"/>
              <a:ext cx="1997560" cy="2255556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>
                  <a:solidFill>
                    <a:schemeClr val="tx1"/>
                  </a:solidFill>
                </a:rPr>
                <a:t>CPD staff adds session to Vitals Site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77085638-0DE8-9FC9-E53D-6FB10FB4065F}"/>
                </a:ext>
              </a:extLst>
            </p:cNvPr>
            <p:cNvCxnSpPr>
              <a:cxnSpLocks/>
            </p:cNvCxnSpPr>
            <p:nvPr/>
          </p:nvCxnSpPr>
          <p:spPr>
            <a:xfrm>
              <a:off x="4047187" y="2824724"/>
              <a:ext cx="2917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D4D95DE4-42FC-D63B-58FA-5B35D2F595D6}"/>
                </a:ext>
              </a:extLst>
            </p:cNvPr>
            <p:cNvCxnSpPr>
              <a:cxnSpLocks/>
            </p:cNvCxnSpPr>
            <p:nvPr/>
          </p:nvCxnSpPr>
          <p:spPr>
            <a:xfrm>
              <a:off x="6673846" y="2824724"/>
              <a:ext cx="291798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62FB41C-4554-F0A8-AA3A-E9EC4653E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5549" y="4624197"/>
            <a:ext cx="9827879" cy="1709928"/>
          </a:xfrm>
        </p:spPr>
        <p:txBody>
          <a:bodyPr/>
          <a:lstStyle/>
          <a:p>
            <a:pPr algn="ctr"/>
            <a:r>
              <a:rPr lang="en-US" sz="2400" b="1" u="sng" dirty="0"/>
              <a:t>The sooner you submit your session to us, the sooner we can add it to Vitals!</a:t>
            </a:r>
          </a:p>
          <a:p>
            <a:pPr algn="ctr"/>
            <a:endParaRPr lang="en-US" sz="1800" dirty="0"/>
          </a:p>
          <a:p>
            <a:pPr algn="ctr"/>
            <a:r>
              <a:rPr lang="en-US" sz="1800" dirty="0"/>
              <a:t>Sessions submitted the same day or that are missing the link to participate </a:t>
            </a:r>
            <a:br>
              <a:rPr lang="en-US" sz="1800" dirty="0"/>
            </a:br>
            <a:r>
              <a:rPr lang="en-US" sz="1800" dirty="0"/>
              <a:t>may not make it onto the pag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96178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8D534-A81B-5667-6712-5EDB0E18B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vs. Future St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BD6159-1197-2D98-CDC1-882668EF46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305415"/>
            <a:ext cx="4311650" cy="4023360"/>
          </a:xfrm>
        </p:spPr>
        <p:txBody>
          <a:bodyPr/>
          <a:lstStyle/>
          <a:p>
            <a:pPr>
              <a:spcAft>
                <a:spcPts val="500"/>
              </a:spcAft>
            </a:pPr>
            <a:r>
              <a:rPr lang="en-US" b="1" dirty="0">
                <a:ea typeface="Roboto" panose="02000000000000000000" pitchFamily="2" charset="0"/>
              </a:rPr>
              <a:t>Previous State:</a:t>
            </a:r>
          </a:p>
          <a:p>
            <a:pPr>
              <a:spcAft>
                <a:spcPts val="500"/>
              </a:spcAft>
            </a:pPr>
            <a:r>
              <a:rPr lang="en-US" dirty="0">
                <a:ea typeface="Roboto" panose="02000000000000000000" pitchFamily="2" charset="0"/>
              </a:rPr>
              <a:t>Marketing is done by department conducting the series.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Department maintains a distribution list of series participant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Department sends invitations, reminders, and links to session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CPD was not involved in marketing at al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7C7B8C4-0646-48FA-A39F-84D06E3CC589}"/>
              </a:ext>
            </a:extLst>
          </p:cNvPr>
          <p:cNvSpPr txBox="1">
            <a:spLocks/>
          </p:cNvSpPr>
          <p:nvPr/>
        </p:nvSpPr>
        <p:spPr>
          <a:xfrm>
            <a:off x="5284080" y="1305414"/>
            <a:ext cx="6057554" cy="44892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500"/>
              </a:spcAft>
            </a:pPr>
            <a:r>
              <a:rPr lang="en-US" b="1" dirty="0">
                <a:ea typeface="Roboto" panose="02000000000000000000" pitchFamily="2" charset="0"/>
              </a:rPr>
              <a:t>Future State (AY24-25):</a:t>
            </a:r>
          </a:p>
          <a:p>
            <a:pPr>
              <a:spcAft>
                <a:spcPts val="500"/>
              </a:spcAft>
            </a:pPr>
            <a:r>
              <a:rPr lang="en-US" dirty="0">
                <a:ea typeface="Roboto" panose="02000000000000000000" pitchFamily="2" charset="0"/>
              </a:rPr>
              <a:t>Mass General Brigham will help market series system-wide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actively recruit participants from community hospitals on a multitude of level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00FF00"/>
                </a:highlight>
                <a:ea typeface="Roboto" panose="02000000000000000000" pitchFamily="2" charset="0"/>
              </a:rPr>
              <a:t>We will include series advertising in our monthly internal newsletter to Mass General Brigham learner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00FF00"/>
                </a:highlight>
                <a:ea typeface="Roboto" panose="02000000000000000000" pitchFamily="2" charset="0"/>
              </a:rPr>
              <a:t>We will have a page that lists series titles, directions to participate, and contact information for each series</a:t>
            </a:r>
            <a:endParaRPr lang="en-US" b="1" dirty="0">
              <a:highlight>
                <a:srgbClr val="00FF00"/>
              </a:highlight>
              <a:ea typeface="Roboto" panose="02000000000000000000" pitchFamily="2" charset="0"/>
            </a:endParaRP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00FF00"/>
                </a:highlight>
                <a:ea typeface="Roboto" panose="02000000000000000000" pitchFamily="2" charset="0"/>
              </a:rPr>
              <a:t>We will maintain a list of session titles and topics so that learners may view, search and choose which sessions to attend 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provide directions on how to view the archived videos of sessions, when avail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ea typeface="Roboto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E269E2-FDFA-9CA6-ABCF-5AA0EC667A44}"/>
              </a:ext>
            </a:extLst>
          </p:cNvPr>
          <p:cNvSpPr txBox="1"/>
          <p:nvPr/>
        </p:nvSpPr>
        <p:spPr>
          <a:xfrm>
            <a:off x="7366453" y="560919"/>
            <a:ext cx="1401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highlight>
                  <a:srgbClr val="00FF00"/>
                </a:highlight>
              </a:rPr>
              <a:t>Complete</a:t>
            </a:r>
          </a:p>
        </p:txBody>
      </p:sp>
    </p:spTree>
    <p:extLst>
      <p:ext uri="{BB962C8B-B14F-4D97-AF65-F5344CB8AC3E}">
        <p14:creationId xmlns:p14="http://schemas.microsoft.com/office/powerpoint/2010/main" val="19911419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8D534-A81B-5667-6712-5EDB0E18B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vs. Future St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BD6159-1197-2D98-CDC1-882668EF46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49" y="1244254"/>
            <a:ext cx="4440065" cy="4023360"/>
          </a:xfrm>
        </p:spPr>
        <p:txBody>
          <a:bodyPr/>
          <a:lstStyle/>
          <a:p>
            <a:pPr>
              <a:spcAft>
                <a:spcPts val="500"/>
              </a:spcAft>
            </a:pPr>
            <a:r>
              <a:rPr lang="en-US" b="1" dirty="0">
                <a:ea typeface="Roboto" panose="02000000000000000000" pitchFamily="2" charset="0"/>
              </a:rPr>
              <a:t>Previous State:</a:t>
            </a:r>
          </a:p>
          <a:p>
            <a:pPr>
              <a:spcAft>
                <a:spcPts val="500"/>
              </a:spcAft>
            </a:pPr>
            <a:r>
              <a:rPr lang="en-US" dirty="0">
                <a:ea typeface="Roboto" panose="02000000000000000000" pitchFamily="2" charset="0"/>
              </a:rPr>
              <a:t>Marketing is done by department conducting the series.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Department maintains a distribution list of series participant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Department sends invitations, reminders, and links to session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CPD was not involved in marketing at al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7C7B8C4-0646-48FA-A39F-84D06E3CC589}"/>
              </a:ext>
            </a:extLst>
          </p:cNvPr>
          <p:cNvSpPr txBox="1">
            <a:spLocks/>
          </p:cNvSpPr>
          <p:nvPr/>
        </p:nvSpPr>
        <p:spPr>
          <a:xfrm>
            <a:off x="5284080" y="1244253"/>
            <a:ext cx="6057554" cy="44892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500"/>
              </a:spcAft>
            </a:pPr>
            <a:r>
              <a:rPr lang="en-US" b="1" dirty="0">
                <a:ea typeface="Roboto" panose="02000000000000000000" pitchFamily="2" charset="0"/>
              </a:rPr>
              <a:t>Future State (AY24-25):</a:t>
            </a:r>
          </a:p>
          <a:p>
            <a:pPr>
              <a:spcAft>
                <a:spcPts val="500"/>
              </a:spcAft>
            </a:pPr>
            <a:r>
              <a:rPr lang="en-US" dirty="0">
                <a:ea typeface="Roboto" panose="02000000000000000000" pitchFamily="2" charset="0"/>
              </a:rPr>
              <a:t>Mass General Brigham will help market series system-wide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  <a:ea typeface="Roboto" panose="02000000000000000000" pitchFamily="2" charset="0"/>
              </a:rPr>
              <a:t>We will actively recruit participants from community hospitals on a multitude of level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include series advertising in our monthly internal newsletter to Mass General Brigham learner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have a page that lists series titles, directions to participate, and contact information for each series</a:t>
            </a:r>
            <a:endParaRPr lang="en-US" b="1" dirty="0">
              <a:ea typeface="Roboto" panose="02000000000000000000" pitchFamily="2" charset="0"/>
            </a:endParaRP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maintain a list of session titles and topics so that learners may view, search and choose which sessions to attend 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provide directions on how to view the archived videos of sessions, when avail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ea typeface="Roboto" panose="020000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EC8B98-9171-1E07-9A80-814EA71A02C0}"/>
              </a:ext>
            </a:extLst>
          </p:cNvPr>
          <p:cNvSpPr txBox="1"/>
          <p:nvPr/>
        </p:nvSpPr>
        <p:spPr>
          <a:xfrm>
            <a:off x="7849265" y="518138"/>
            <a:ext cx="1401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highlight>
                  <a:srgbClr val="FFFF00"/>
                </a:highlight>
              </a:rPr>
              <a:t>Starting</a:t>
            </a:r>
          </a:p>
        </p:txBody>
      </p:sp>
    </p:spTree>
    <p:extLst>
      <p:ext uri="{BB962C8B-B14F-4D97-AF65-F5344CB8AC3E}">
        <p14:creationId xmlns:p14="http://schemas.microsoft.com/office/powerpoint/2010/main" val="822573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8D534-A81B-5667-6712-5EDB0E18B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vs. Future St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BD6159-1197-2D98-CDC1-882668EF46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305415"/>
            <a:ext cx="4353272" cy="4023360"/>
          </a:xfrm>
        </p:spPr>
        <p:txBody>
          <a:bodyPr/>
          <a:lstStyle/>
          <a:p>
            <a:pPr>
              <a:spcAft>
                <a:spcPts val="500"/>
              </a:spcAft>
            </a:pPr>
            <a:r>
              <a:rPr lang="en-US" b="1" dirty="0">
                <a:ea typeface="Roboto" panose="02000000000000000000" pitchFamily="2" charset="0"/>
              </a:rPr>
              <a:t>Previous State:</a:t>
            </a:r>
          </a:p>
          <a:p>
            <a:pPr>
              <a:spcAft>
                <a:spcPts val="500"/>
              </a:spcAft>
            </a:pPr>
            <a:r>
              <a:rPr lang="en-US" dirty="0">
                <a:ea typeface="Roboto" panose="02000000000000000000" pitchFamily="2" charset="0"/>
              </a:rPr>
              <a:t>Marketing is done by department conducting the series.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Department maintains a distribution list of series participant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Department sends invitations, reminders, and links to session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CPD was not involved in marketing at al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7C7B8C4-0646-48FA-A39F-84D06E3CC589}"/>
              </a:ext>
            </a:extLst>
          </p:cNvPr>
          <p:cNvSpPr txBox="1">
            <a:spLocks/>
          </p:cNvSpPr>
          <p:nvPr/>
        </p:nvSpPr>
        <p:spPr>
          <a:xfrm>
            <a:off x="5284080" y="1305414"/>
            <a:ext cx="6057554" cy="44892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500"/>
              </a:spcAft>
            </a:pPr>
            <a:r>
              <a:rPr lang="en-US" b="1" dirty="0">
                <a:ea typeface="Roboto" panose="02000000000000000000" pitchFamily="2" charset="0"/>
              </a:rPr>
              <a:t>Future State (AY24-25):</a:t>
            </a:r>
          </a:p>
          <a:p>
            <a:pPr>
              <a:spcAft>
                <a:spcPts val="500"/>
              </a:spcAft>
            </a:pPr>
            <a:r>
              <a:rPr lang="en-US" dirty="0">
                <a:ea typeface="Roboto" panose="02000000000000000000" pitchFamily="2" charset="0"/>
              </a:rPr>
              <a:t>Mass General Brigham will help market series system-wide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actively recruit participants from community hospitals on a multitude of level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include series advertising in our monthly internal newsletter to Mass General Brigham learners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have a page that lists series titles, directions to participate, and contact information for each series</a:t>
            </a:r>
            <a:endParaRPr lang="en-US" b="1" dirty="0">
              <a:ea typeface="Roboto" panose="02000000000000000000" pitchFamily="2" charset="0"/>
            </a:endParaRP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Roboto" panose="02000000000000000000" pitchFamily="2" charset="0"/>
              </a:rPr>
              <a:t>We will maintain a list of session titles and topics so that learners may view, search and choose which sessions to attend </a:t>
            </a: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00FFFF"/>
                </a:highlight>
                <a:ea typeface="Roboto" panose="02000000000000000000" pitchFamily="2" charset="0"/>
              </a:rPr>
              <a:t>We will provide directions on how to view the archived videos of sessions, when avail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ea typeface="Roboto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EC0B3B-2D7D-1716-1D0A-7ABC70E9B165}"/>
              </a:ext>
            </a:extLst>
          </p:cNvPr>
          <p:cNvSpPr txBox="1"/>
          <p:nvPr/>
        </p:nvSpPr>
        <p:spPr>
          <a:xfrm>
            <a:off x="8004881" y="601710"/>
            <a:ext cx="1401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highlight>
                  <a:srgbClr val="00FFFF"/>
                </a:highlight>
              </a:rPr>
              <a:t>Next</a:t>
            </a:r>
          </a:p>
        </p:txBody>
      </p:sp>
    </p:spTree>
    <p:extLst>
      <p:ext uri="{BB962C8B-B14F-4D97-AF65-F5344CB8AC3E}">
        <p14:creationId xmlns:p14="http://schemas.microsoft.com/office/powerpoint/2010/main" val="2719112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0131-8A6D-52E9-6395-AACEA17DB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Needed for Site – Accomplished So Far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16A753-436B-1CF9-68F2-E64CB49E65F8}"/>
              </a:ext>
            </a:extLst>
          </p:cNvPr>
          <p:cNvSpPr txBox="1">
            <a:spLocks/>
          </p:cNvSpPr>
          <p:nvPr/>
        </p:nvSpPr>
        <p:spPr>
          <a:xfrm>
            <a:off x="783624" y="2389575"/>
            <a:ext cx="5105399" cy="38160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b="1" dirty="0"/>
              <a:t>Absolutely must have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Name of Serie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eries Director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eries Coordinator with email addres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Virtual meeting link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ession list with dat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Dates and session topic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Target audience (specialty, professions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FF90C3F-C026-3DC9-EC9C-6821EB3DAE41}"/>
              </a:ext>
            </a:extLst>
          </p:cNvPr>
          <p:cNvSpPr txBox="1">
            <a:spLocks/>
          </p:cNvSpPr>
          <p:nvPr/>
        </p:nvSpPr>
        <p:spPr>
          <a:xfrm>
            <a:off x="6096000" y="2402783"/>
            <a:ext cx="5802086" cy="44806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/>
              <a:t>Nice to have:</a:t>
            </a:r>
          </a:p>
          <a:p>
            <a:r>
              <a:rPr lang="en-US" sz="2000" dirty="0"/>
              <a:t>Speaker name</a:t>
            </a:r>
          </a:p>
          <a:p>
            <a:r>
              <a:rPr lang="en-US" sz="2000" dirty="0"/>
              <a:t>Link to recordings (when available)</a:t>
            </a:r>
          </a:p>
          <a:p>
            <a:r>
              <a:rPr lang="en-US" sz="2000" dirty="0"/>
              <a:t>Link to accredited enduring activity (when available)</a:t>
            </a:r>
          </a:p>
          <a:p>
            <a:r>
              <a:rPr lang="en-US" sz="2000" dirty="0"/>
              <a:t>Calendar function</a:t>
            </a:r>
          </a:p>
          <a:p>
            <a:r>
              <a:rPr lang="en-US" sz="2000" dirty="0"/>
              <a:t>Search function</a:t>
            </a:r>
          </a:p>
          <a:p>
            <a:r>
              <a:rPr lang="en-US" sz="2000" dirty="0"/>
              <a:t>Filter function</a:t>
            </a:r>
            <a:endParaRPr lang="en-US" sz="2000" b="1" dirty="0"/>
          </a:p>
          <a:p>
            <a:pPr marL="0" indent="0">
              <a:buNone/>
            </a:pPr>
            <a:r>
              <a:rPr lang="en-US" sz="2000" b="1" dirty="0"/>
              <a:t>Out of scope:</a:t>
            </a:r>
          </a:p>
          <a:p>
            <a:r>
              <a:rPr lang="en-US" sz="2000" dirty="0"/>
              <a:t>Accreditation for archived sessions</a:t>
            </a:r>
          </a:p>
          <a:p>
            <a:r>
              <a:rPr lang="en-US" sz="2000" dirty="0"/>
              <a:t>Accreditation for select archived sessions</a:t>
            </a:r>
          </a:p>
          <a:p>
            <a:endParaRPr lang="en-US" sz="2000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466BB98-DECF-997D-68CE-BFA23D65CDDA}"/>
              </a:ext>
            </a:extLst>
          </p:cNvPr>
          <p:cNvSpPr txBox="1">
            <a:spLocks/>
          </p:cNvSpPr>
          <p:nvPr/>
        </p:nvSpPr>
        <p:spPr>
          <a:xfrm>
            <a:off x="783624" y="1265905"/>
            <a:ext cx="10515747" cy="96669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All MGB clinicians will easily be able to access information for all our in-hospital series, so they can choose what to attend</a:t>
            </a:r>
            <a:endParaRPr lang="en-US" sz="24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2C64AF-F7A5-F8AB-1B4C-0474C0465E82}"/>
              </a:ext>
            </a:extLst>
          </p:cNvPr>
          <p:cNvSpPr/>
          <p:nvPr/>
        </p:nvSpPr>
        <p:spPr>
          <a:xfrm>
            <a:off x="641350" y="2232598"/>
            <a:ext cx="5105399" cy="39729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2DB8B2-A146-50CE-F737-6F2C7B774DC9}"/>
              </a:ext>
            </a:extLst>
          </p:cNvPr>
          <p:cNvSpPr/>
          <p:nvPr/>
        </p:nvSpPr>
        <p:spPr>
          <a:xfrm>
            <a:off x="6031297" y="2807621"/>
            <a:ext cx="5105399" cy="40430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05E1C5-3F4A-1F3B-11C9-681C45127EEF}"/>
              </a:ext>
            </a:extLst>
          </p:cNvPr>
          <p:cNvSpPr/>
          <p:nvPr/>
        </p:nvSpPr>
        <p:spPr>
          <a:xfrm>
            <a:off x="6031296" y="4384830"/>
            <a:ext cx="5105399" cy="40430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6674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814148-C792-52E6-7112-B4A4D864F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Need from Series Directors and Coordina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CAB4A1-0B0D-BCA1-162F-56E3E8D63A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6608" y="1208248"/>
            <a:ext cx="10815278" cy="4908243"/>
          </a:xfrm>
        </p:spPr>
        <p:txBody>
          <a:bodyPr/>
          <a:lstStyle/>
          <a:p>
            <a:r>
              <a:rPr lang="en-US" b="1" dirty="0"/>
              <a:t>Required for all sessions:</a:t>
            </a:r>
          </a:p>
          <a:p>
            <a:pPr marL="804863" lvl="1" indent="-342900"/>
            <a:r>
              <a:rPr lang="en-US" dirty="0"/>
              <a:t>Meeting link to participate </a:t>
            </a:r>
          </a:p>
          <a:p>
            <a:pPr marL="1031875" lvl="2" indent="-342900"/>
            <a:r>
              <a:rPr lang="en-US" dirty="0"/>
              <a:t>Be sure to include passcode if required!</a:t>
            </a:r>
          </a:p>
          <a:p>
            <a:pPr marL="1031875" lvl="2" indent="-342900"/>
            <a:r>
              <a:rPr lang="en-US" dirty="0"/>
              <a:t>We recommend using 1 meeting link for the entire series </a:t>
            </a:r>
          </a:p>
          <a:p>
            <a:pPr marL="1031875" lvl="2" indent="-342900"/>
            <a:r>
              <a:rPr lang="en-US" dirty="0"/>
              <a:t>If you have some sessions that are confidential within a series that is overall not confidential, we recommend using a separate link for the confidential sessions</a:t>
            </a:r>
          </a:p>
          <a:p>
            <a:pPr lvl="1" indent="0">
              <a:buNone/>
            </a:pPr>
            <a:endParaRPr lang="en-US" dirty="0"/>
          </a:p>
          <a:p>
            <a:pPr marL="804863" lvl="1" indent="-342900"/>
            <a:r>
              <a:rPr lang="en-US" b="1" dirty="0"/>
              <a:t>Session topic and speakers</a:t>
            </a:r>
          </a:p>
          <a:p>
            <a:pPr marL="1031875" lvl="2" indent="-342900"/>
            <a:r>
              <a:rPr lang="en-US" dirty="0"/>
              <a:t>Please put the session topic in the title of the session. Many of you are already doing this. </a:t>
            </a:r>
          </a:p>
          <a:p>
            <a:pPr marL="1031875" lvl="2" indent="-342900"/>
            <a:r>
              <a:rPr lang="en-US" b="1" i="1" dirty="0"/>
              <a:t>Bonus points for including the speaker too!</a:t>
            </a:r>
          </a:p>
          <a:p>
            <a:pPr marL="1260475" lvl="3" indent="-342900"/>
            <a:r>
              <a:rPr lang="en-US" dirty="0"/>
              <a:t>Providing this information up-front will make things easier for you at check-in time</a:t>
            </a:r>
          </a:p>
          <a:p>
            <a:pPr marL="1260475" lvl="3" indent="-342900"/>
            <a:r>
              <a:rPr lang="en-US" dirty="0"/>
              <a:t>For sessions with “surprise cases” – put something generic in the title</a:t>
            </a:r>
          </a:p>
          <a:p>
            <a:pPr marL="804863" lvl="1" indent="-342900"/>
            <a:endParaRPr lang="en-US" dirty="0"/>
          </a:p>
          <a:p>
            <a:r>
              <a:rPr lang="en-US" b="1" dirty="0"/>
              <a:t>Required for recorded session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peaker copyright and consent fo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rchived video link (if applicable)</a:t>
            </a:r>
          </a:p>
        </p:txBody>
      </p:sp>
    </p:spTree>
    <p:extLst>
      <p:ext uri="{BB962C8B-B14F-4D97-AF65-F5344CB8AC3E}">
        <p14:creationId xmlns:p14="http://schemas.microsoft.com/office/powerpoint/2010/main" val="4213125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C9A64-CB42-64E9-BE0E-C154D0B43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dential/Private Education Meet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C22647-E7F7-F879-E577-071428EE65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1" y="1390811"/>
            <a:ext cx="11345742" cy="472568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M&amp;Ms and Tumor boards are considered confidential to the department and are excluded from this initiativ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All other series should make some or all sessions available to anyone in the syste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HIPAA Concerns: All MGB clinicians are bound by MGB standards of protecting PH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We recognize your series may have sessions that are meant only for your department. </a:t>
            </a:r>
          </a:p>
          <a:p>
            <a:pPr marL="919163" lvl="1" indent="-457200"/>
            <a:r>
              <a:rPr lang="en-US" b="1" dirty="0"/>
              <a:t>For these sessions, we ask that you put “DEPARTMENT ONLY” in the session title. Also, don’t list the Zoom link or use a distinct Zoom link. </a:t>
            </a:r>
            <a:r>
              <a:rPr lang="en-US" dirty="0"/>
              <a:t>Examples include:</a:t>
            </a:r>
          </a:p>
          <a:p>
            <a:pPr marL="1146175" lvl="2" indent="-457200"/>
            <a:r>
              <a:rPr lang="en-US" dirty="0"/>
              <a:t>Department meetings</a:t>
            </a:r>
          </a:p>
          <a:p>
            <a:pPr marL="1146175" lvl="2" indent="-457200"/>
            <a:r>
              <a:rPr lang="en-US" dirty="0"/>
              <a:t>Sessions designed for department only (for example, session that involve discussions about professional challenges and career issues)</a:t>
            </a:r>
          </a:p>
          <a:p>
            <a:pPr marL="1146175" lvl="2" indent="-457200"/>
            <a:r>
              <a:rPr lang="en-US" dirty="0"/>
              <a:t>Confidential sessions within series (e.g., M&amp;M on the last week each month for a weekly Grand Rounds series.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Department-specific challenges: Please reach out! </a:t>
            </a:r>
          </a:p>
          <a:p>
            <a:pPr marL="919163" lvl="1" indent="-457200"/>
            <a:r>
              <a:rPr lang="en-US" dirty="0"/>
              <a:t>Everyone is doing their series a little bit differently. Does anyone have an example to discuss? </a:t>
            </a:r>
          </a:p>
          <a:p>
            <a:pPr marL="919163" lvl="1" indent="-457200"/>
            <a:r>
              <a:rPr lang="en-US" dirty="0"/>
              <a:t>Email us at mgbcpd@mgb.org if you have specific concerns.</a:t>
            </a:r>
          </a:p>
        </p:txBody>
      </p:sp>
    </p:spTree>
    <p:extLst>
      <p:ext uri="{BB962C8B-B14F-4D97-AF65-F5344CB8AC3E}">
        <p14:creationId xmlns:p14="http://schemas.microsoft.com/office/powerpoint/2010/main" val="16350977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EFE41-566F-9D59-C087-2CB517D10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gagement Statistic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0ADD318-10F1-28A5-C54A-C076CEA1A5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58780" y="807924"/>
            <a:ext cx="2225102" cy="1107424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31CF65E-85AB-DD5B-7DFC-F9A261A553D6}"/>
              </a:ext>
            </a:extLst>
          </p:cNvPr>
          <p:cNvGrpSpPr/>
          <p:nvPr/>
        </p:nvGrpSpPr>
        <p:grpSpPr>
          <a:xfrm>
            <a:off x="9294985" y="506303"/>
            <a:ext cx="1659753" cy="1553425"/>
            <a:chOff x="3626863" y="1200078"/>
            <a:chExt cx="1659753" cy="155342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C653BC7-4290-34E5-A93C-D47D22962B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20166" y="1353710"/>
              <a:ext cx="1466450" cy="139979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76805F5-931E-C890-B91A-B96EE12B1129}"/>
                </a:ext>
              </a:extLst>
            </p:cNvPr>
            <p:cNvSpPr txBox="1"/>
            <p:nvPr/>
          </p:nvSpPr>
          <p:spPr>
            <a:xfrm>
              <a:off x="3765176" y="1200078"/>
              <a:ext cx="6685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398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E085062-2F46-48BC-0294-12E2D2BA9CC4}"/>
                </a:ext>
              </a:extLst>
            </p:cNvPr>
            <p:cNvSpPr txBox="1"/>
            <p:nvPr/>
          </p:nvSpPr>
          <p:spPr>
            <a:xfrm>
              <a:off x="3626863" y="2384171"/>
              <a:ext cx="6685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6/28/24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88C3B36-E72C-54B1-A555-7C71CFAF09E9}"/>
              </a:ext>
            </a:extLst>
          </p:cNvPr>
          <p:cNvGrpSpPr/>
          <p:nvPr/>
        </p:nvGrpSpPr>
        <p:grpSpPr>
          <a:xfrm>
            <a:off x="5781981" y="735988"/>
            <a:ext cx="2494828" cy="947059"/>
            <a:chOff x="725608" y="1389752"/>
            <a:chExt cx="2494828" cy="94705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938E1D8-1AA9-B489-A89E-B9AEED56325C}"/>
                </a:ext>
              </a:extLst>
            </p:cNvPr>
            <p:cNvSpPr txBox="1"/>
            <p:nvPr/>
          </p:nvSpPr>
          <p:spPr>
            <a:xfrm>
              <a:off x="1098550" y="1389752"/>
              <a:ext cx="37294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40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03F783F-2343-23AE-6B99-EE662D8BCE20}"/>
                </a:ext>
              </a:extLst>
            </p:cNvPr>
            <p:cNvSpPr txBox="1"/>
            <p:nvPr/>
          </p:nvSpPr>
          <p:spPr>
            <a:xfrm>
              <a:off x="725608" y="1631269"/>
              <a:ext cx="3729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26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2D034CC-5FBE-F6E3-8674-E3FB0A37854D}"/>
                </a:ext>
              </a:extLst>
            </p:cNvPr>
            <p:cNvSpPr txBox="1"/>
            <p:nvPr/>
          </p:nvSpPr>
          <p:spPr>
            <a:xfrm>
              <a:off x="1471493" y="1922801"/>
              <a:ext cx="33887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8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70D08E-9F2A-34F2-9C5C-D98CF1511C98}"/>
                </a:ext>
              </a:extLst>
            </p:cNvPr>
            <p:cNvSpPr txBox="1"/>
            <p:nvPr/>
          </p:nvSpPr>
          <p:spPr>
            <a:xfrm>
              <a:off x="1801985" y="1884595"/>
              <a:ext cx="33887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13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53A8C0E-A62E-63EF-AE09-C18F40C9C02F}"/>
                </a:ext>
              </a:extLst>
            </p:cNvPr>
            <p:cNvSpPr txBox="1"/>
            <p:nvPr/>
          </p:nvSpPr>
          <p:spPr>
            <a:xfrm>
              <a:off x="2140856" y="2053606"/>
              <a:ext cx="2869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2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382B35D-9B1D-90A4-8FCC-1E4D8AB1179A}"/>
                </a:ext>
              </a:extLst>
            </p:cNvPr>
            <p:cNvSpPr txBox="1"/>
            <p:nvPr/>
          </p:nvSpPr>
          <p:spPr>
            <a:xfrm>
              <a:off x="2427779" y="2075201"/>
              <a:ext cx="2869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DBEFFC2-BCAD-AF35-7DF3-3406728BAFEA}"/>
                </a:ext>
              </a:extLst>
            </p:cNvPr>
            <p:cNvSpPr txBox="1"/>
            <p:nvPr/>
          </p:nvSpPr>
          <p:spPr>
            <a:xfrm>
              <a:off x="2762370" y="1768989"/>
              <a:ext cx="45806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15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3E3B0FB-CDF2-C48F-2C01-287AFF1AE12C}"/>
              </a:ext>
            </a:extLst>
          </p:cNvPr>
          <p:cNvSpPr txBox="1"/>
          <p:nvPr/>
        </p:nvSpPr>
        <p:spPr>
          <a:xfrm>
            <a:off x="1084267" y="3830043"/>
            <a:ext cx="6463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1 Example of a Grand Rounds with 3 sessions to date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0E1E3818-05DA-18F1-8C02-4049982101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102774"/>
              </p:ext>
            </p:extLst>
          </p:nvPr>
        </p:nvGraphicFramePr>
        <p:xfrm>
          <a:off x="1166986" y="4264495"/>
          <a:ext cx="8127999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4080">
                  <a:extLst>
                    <a:ext uri="{9D8B030D-6E8A-4147-A177-3AD203B41FA5}">
                      <a16:colId xmlns:a16="http://schemas.microsoft.com/office/drawing/2014/main" val="56473729"/>
                    </a:ext>
                  </a:extLst>
                </a:gridCol>
                <a:gridCol w="2650991">
                  <a:extLst>
                    <a:ext uri="{9D8B030D-6E8A-4147-A177-3AD203B41FA5}">
                      <a16:colId xmlns:a16="http://schemas.microsoft.com/office/drawing/2014/main" val="59684624"/>
                    </a:ext>
                  </a:extLst>
                </a:gridCol>
                <a:gridCol w="2632928">
                  <a:extLst>
                    <a:ext uri="{9D8B030D-6E8A-4147-A177-3AD203B41FA5}">
                      <a16:colId xmlns:a16="http://schemas.microsoft.com/office/drawing/2014/main" val="41274417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3-2024: 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3 ses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24-2025: 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3 ses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1124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otal enroll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26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otal community hos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174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ercent community hos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.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48147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115B36B-3070-87AE-7C2D-A21BBCE0C00D}"/>
              </a:ext>
            </a:extLst>
          </p:cNvPr>
          <p:cNvSpPr txBox="1"/>
          <p:nvPr/>
        </p:nvSpPr>
        <p:spPr>
          <a:xfrm>
            <a:off x="1084267" y="2137366"/>
            <a:ext cx="6463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ll Eligible Series – Jul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DA7D96B-64E5-33A8-7D91-75A766E13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668655"/>
              </p:ext>
            </p:extLst>
          </p:nvPr>
        </p:nvGraphicFramePr>
        <p:xfrm>
          <a:off x="1166986" y="2579977"/>
          <a:ext cx="8130695" cy="736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8802">
                  <a:extLst>
                    <a:ext uri="{9D8B030D-6E8A-4147-A177-3AD203B41FA5}">
                      <a16:colId xmlns:a16="http://schemas.microsoft.com/office/drawing/2014/main" val="56473729"/>
                    </a:ext>
                  </a:extLst>
                </a:gridCol>
                <a:gridCol w="1352390">
                  <a:extLst>
                    <a:ext uri="{9D8B030D-6E8A-4147-A177-3AD203B41FA5}">
                      <a16:colId xmlns:a16="http://schemas.microsoft.com/office/drawing/2014/main" val="59684624"/>
                    </a:ext>
                  </a:extLst>
                </a:gridCol>
                <a:gridCol w="1267866">
                  <a:extLst>
                    <a:ext uri="{9D8B030D-6E8A-4147-A177-3AD203B41FA5}">
                      <a16:colId xmlns:a16="http://schemas.microsoft.com/office/drawing/2014/main" val="4127441762"/>
                    </a:ext>
                  </a:extLst>
                </a:gridCol>
                <a:gridCol w="2051637">
                  <a:extLst>
                    <a:ext uri="{9D8B030D-6E8A-4147-A177-3AD203B41FA5}">
                      <a16:colId xmlns:a16="http://schemas.microsoft.com/office/drawing/2014/main" val="30053776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uly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uly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ercent Ch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11244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munity Hospital Enroll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7% incre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174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85969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5F9148-D6B7-D745-35B4-03C2918C9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/Issues That Have Come Up So F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59B43B-B007-EC09-CA29-1C7F6FFEEB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eeting link missing passco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ssions built wrong have wrong settings and are searchable on the intern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fusion on whether this initiative is for live sessions or archiv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eries are not confidential but want to stay for department on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ow to manage cancelled se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anges to announcements/communications now that there is a centralized site</a:t>
            </a:r>
          </a:p>
          <a:p>
            <a:pPr marL="804863" lvl="1" indent="-342900"/>
            <a:r>
              <a:rPr lang="en-US" dirty="0"/>
              <a:t>What changes are you making or have you seen?</a:t>
            </a:r>
          </a:p>
          <a:p>
            <a:endParaRPr lang="en-US" dirty="0"/>
          </a:p>
          <a:p>
            <a:endParaRPr lang="en-US" dirty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3397559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F4507-1A52-3B49-A47A-AEF11172D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0" y="449473"/>
            <a:ext cx="2206625" cy="581025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248E56-61CB-CB43-BCA5-E10B505A5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7494" y="1476171"/>
            <a:ext cx="10220862" cy="506207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mportant Dates &amp; Upcoming Train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Joint Accreditation Profe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verview: Systemwide Grand Rounds Projec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Vitals si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ocess Re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fidential Se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ngagement Sta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’s next: Archived Record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Your Feedba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Q&amp;A/Discussion </a:t>
            </a:r>
          </a:p>
          <a:p>
            <a:pPr algn="ctr"/>
            <a:endParaRPr lang="en-US" sz="1600" i="1" dirty="0"/>
          </a:p>
          <a:p>
            <a:pPr algn="ctr"/>
            <a:endParaRPr lang="en-US" sz="1600" i="1" dirty="0"/>
          </a:p>
          <a:p>
            <a:pPr algn="ctr"/>
            <a:r>
              <a:rPr lang="en-US" sz="1600" i="1" dirty="0"/>
              <a:t>Please send  questions to </a:t>
            </a:r>
            <a:r>
              <a:rPr lang="en-US" sz="1600" i="1" dirty="0">
                <a:hlinkClick r:id="rId6"/>
              </a:rPr>
              <a:t>mgbcpd@mgb.org</a:t>
            </a:r>
            <a:endParaRPr lang="en-US" sz="1600" i="1" dirty="0"/>
          </a:p>
          <a:p>
            <a:pPr algn="ctr"/>
            <a:r>
              <a:rPr lang="en-US" sz="1600" i="1" dirty="0"/>
              <a:t>This webinar is not being recorded so that participants can speak freely.</a:t>
            </a:r>
          </a:p>
          <a:p>
            <a:pPr algn="ctr"/>
            <a:r>
              <a:rPr lang="en-US" sz="1600" i="1" dirty="0"/>
              <a:t>Slides will be available on our website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744C47-1FC9-4622-9503-6336BBEFF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34475" y="580605"/>
            <a:ext cx="2505822" cy="250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84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323D1-7636-E5ED-7BFD-21A9C1754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A9B7A-180E-8C4E-A26C-5609BBE8B0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493608"/>
            <a:ext cx="10902950" cy="4023360"/>
          </a:xfrm>
        </p:spPr>
        <p:txBody>
          <a:bodyPr/>
          <a:lstStyle/>
          <a:p>
            <a:r>
              <a:rPr lang="en-US" b="1" dirty="0"/>
              <a:t>Your next step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tart putting the topic (if you aren’t already) and virtual meeting link in each ses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act us with any issues or questions specific to your se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ovide feedback!</a:t>
            </a:r>
          </a:p>
          <a:p>
            <a:pPr marL="1031875" lvl="2" indent="-342900"/>
            <a:r>
              <a:rPr lang="en-US" dirty="0"/>
              <a:t>Real-time feedback, problems as they arise, questions</a:t>
            </a:r>
          </a:p>
          <a:p>
            <a:pPr marL="1031875" lvl="2" indent="-342900"/>
            <a:r>
              <a:rPr lang="en-US" dirty="0"/>
              <a:t>We gladly accept success stories too!</a:t>
            </a:r>
          </a:p>
          <a:p>
            <a:pPr marL="804863" lvl="1" indent="-342900"/>
            <a:endParaRPr lang="en-US" dirty="0"/>
          </a:p>
          <a:p>
            <a:pPr marL="342900" indent="-342900"/>
            <a:r>
              <a:rPr lang="en-US" b="1" dirty="0"/>
              <a:t>Our next steps:</a:t>
            </a:r>
          </a:p>
          <a:p>
            <a:pPr marL="804863" lvl="1" indent="-342900"/>
            <a:r>
              <a:rPr lang="en-US" dirty="0"/>
              <a:t>Phase 2 of this project is to offer archived versions of the live sessions for anyone to access</a:t>
            </a:r>
          </a:p>
          <a:p>
            <a:pPr marL="804863" lvl="1" indent="-3429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5927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C0573-6D04-9686-1408-2D95C967C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: Explore Automation &amp; Site Functiona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EC31A2-844A-F9DE-6C49-BFE861602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ight now, much of the process for getting information from departments onto Vitals is manu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ong-term, manual is not ide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also hope to improve filtering and search functionality on the Vitals sit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904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1E19E-F999-CBCB-E9B4-95BF194E1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: Archived Recor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325D1-5839-114A-48B6-CF8CBCE41F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388657"/>
            <a:ext cx="10902950" cy="4451207"/>
          </a:xfrm>
        </p:spPr>
        <p:txBody>
          <a:bodyPr/>
          <a:lstStyle/>
          <a:p>
            <a:r>
              <a:rPr lang="en-US" b="1" dirty="0"/>
              <a:t>We are thinking through the next stage now: Archived Recordings</a:t>
            </a:r>
          </a:p>
          <a:p>
            <a:endParaRPr lang="en-US" dirty="0"/>
          </a:p>
          <a:p>
            <a:r>
              <a:rPr lang="en-US" b="1" dirty="0"/>
              <a:t>Questions to Answ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ccredi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pyright and speaker cons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udience: Internal to MGB only, or external also </a:t>
            </a:r>
          </a:p>
          <a:p>
            <a:endParaRPr lang="en-US" dirty="0"/>
          </a:p>
          <a:p>
            <a:r>
              <a:rPr lang="en-US" b="1" dirty="0"/>
              <a:t>Problems to Sol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echnic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inanc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peratio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eg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4587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59B605-A089-DFD8-2D26-6F904348C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: Alumni Initiative Opt-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6A221D-AA09-C2E7-D55B-9DDE34BB1A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Education Office has a separate initiative to advertise events to alumni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Alumni Association is launching at the beginning of Septemb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sent a survey to eligible series asking if you want us to invite alumni to particip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icipation in the alumni initiative is encouraged! (But optional)</a:t>
            </a:r>
          </a:p>
        </p:txBody>
      </p:sp>
    </p:spTree>
    <p:extLst>
      <p:ext uri="{BB962C8B-B14F-4D97-AF65-F5344CB8AC3E}">
        <p14:creationId xmlns:p14="http://schemas.microsoft.com/office/powerpoint/2010/main" val="40023261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46A5E-5541-4465-8A28-987EAC409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llow Us On Social Media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3545A-CBB5-491C-95DB-B86FA51A0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566277"/>
            <a:ext cx="10902950" cy="4444879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We are growing our followers and standing on social media to:</a:t>
            </a:r>
          </a:p>
          <a:p>
            <a:endParaRPr lang="en-US" b="1" dirty="0"/>
          </a:p>
          <a:p>
            <a:pPr lvl="1"/>
            <a:r>
              <a:rPr lang="en-US" dirty="0"/>
              <a:t>Showcase all the great education projects being done around the system</a:t>
            </a:r>
          </a:p>
          <a:p>
            <a:pPr lvl="1"/>
            <a:r>
              <a:rPr lang="en-US" dirty="0"/>
              <a:t>Market courses to external participants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Follow us and share your news, to help grow the community!</a:t>
            </a:r>
          </a:p>
          <a:p>
            <a:endParaRPr lang="en-US" b="1" dirty="0"/>
          </a:p>
          <a:p>
            <a:pPr lvl="1"/>
            <a:r>
              <a:rPr lang="en-US" b="1" dirty="0"/>
              <a:t>X (formally known as Twitter): </a:t>
            </a:r>
          </a:p>
          <a:p>
            <a:pPr lvl="2"/>
            <a:r>
              <a:rPr lang="en-US" b="0" i="0" dirty="0">
                <a:effectLst/>
                <a:latin typeface="TwitterChirp"/>
              </a:rPr>
              <a:t>@MassGenBrighCPD</a:t>
            </a:r>
            <a:endParaRPr lang="en-US" dirty="0"/>
          </a:p>
          <a:p>
            <a:endParaRPr lang="en-US" b="1" dirty="0"/>
          </a:p>
          <a:p>
            <a:pPr lvl="1"/>
            <a:r>
              <a:rPr lang="en-US" b="1" dirty="0"/>
              <a:t>LinkedIn:</a:t>
            </a:r>
          </a:p>
          <a:p>
            <a:pPr lvl="2"/>
            <a:r>
              <a:rPr lang="en-US" i="0" dirty="0">
                <a:effectLst/>
                <a:latin typeface="-apple-system"/>
              </a:rPr>
              <a:t>Mass General Brigham Continuing Professional Development</a:t>
            </a:r>
          </a:p>
          <a:p>
            <a:pPr lvl="2"/>
            <a:r>
              <a:rPr lang="en-US" i="0" dirty="0">
                <a:effectLst/>
                <a:latin typeface="-apple-system"/>
                <a:hlinkClick r:id="rId2"/>
              </a:rPr>
              <a:t>https://www.linkedin.com/showcase/mass-general-brigham-office-of-continuing-professional-development</a:t>
            </a:r>
            <a:endParaRPr lang="en-US" i="0" dirty="0">
              <a:effectLst/>
              <a:latin typeface="-apple-system"/>
            </a:endParaRPr>
          </a:p>
          <a:p>
            <a:pPr lvl="2"/>
            <a:endParaRPr lang="en-US" dirty="0"/>
          </a:p>
        </p:txBody>
      </p:sp>
      <p:pic>
        <p:nvPicPr>
          <p:cNvPr id="1030" name="Picture 6" descr="X Logo - Free Vectors &amp; PSDs to Download">
            <a:extLst>
              <a:ext uri="{FF2B5EF4-FFF2-40B4-BE49-F238E27FC236}">
                <a16:creationId xmlns:a16="http://schemas.microsoft.com/office/drawing/2014/main" id="{C1D222DE-B5A2-1487-9C17-0BE405C52F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100" y="437989"/>
            <a:ext cx="956516" cy="956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inkedin logo vector, Linkedin symbol ...">
            <a:extLst>
              <a:ext uri="{FF2B5EF4-FFF2-40B4-BE49-F238E27FC236}">
                <a16:creationId xmlns:a16="http://schemas.microsoft.com/office/drawing/2014/main" id="{FC02A715-C456-9D7C-76FB-0D21F1BB45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16" b="12868"/>
          <a:stretch/>
        </p:blipFill>
        <p:spPr bwMode="auto">
          <a:xfrm>
            <a:off x="9527283" y="414937"/>
            <a:ext cx="1622250" cy="109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68744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29" y="835309"/>
            <a:ext cx="9163050" cy="53657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Thank you for attending today’s meeting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329" y="1818116"/>
            <a:ext cx="8388203" cy="2689392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Next webinar is 9/12/24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Reminder to please send all questions to </a:t>
            </a:r>
            <a:r>
              <a:rPr lang="en-US" dirty="0">
                <a:hlinkClick r:id="rId6"/>
              </a:rPr>
              <a:t>mgbcpd@mgb.org</a:t>
            </a:r>
            <a:endParaRPr lang="en-US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These slides will be available on the C</a:t>
            </a:r>
            <a:r>
              <a:rPr lang="en-US" dirty="0">
                <a:ea typeface="+mn-lt"/>
                <a:cs typeface="+mn-lt"/>
              </a:rPr>
              <a:t>ourse Coordinator Virtual Community: </a:t>
            </a:r>
            <a:r>
              <a:rPr lang="en-US" dirty="0">
                <a:ea typeface="+mn-lt"/>
                <a:cs typeface="+mn-lt"/>
                <a:hlinkClick r:id="rId7"/>
              </a:rPr>
              <a:t>https://cpd.partners.org/series-coordinators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B31729-788B-4F45-88EF-CF831AA4AA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41532" y="3695188"/>
            <a:ext cx="26670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380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7AA08-2A26-EE06-5796-D42CF25C7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Feedback and Ques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30EE5-4867-8A1E-257F-D532D1E651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B847ED-76BA-5373-5AC7-8B2EB640F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C00DAF-46BD-F00B-D1F9-61C90C3330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662" y="728662"/>
            <a:ext cx="5400675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4853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724597"/>
            <a:ext cx="10902950" cy="956516"/>
          </a:xfrm>
        </p:spPr>
        <p:txBody>
          <a:bodyPr/>
          <a:lstStyle/>
          <a:p>
            <a:r>
              <a:rPr lang="en-US" dirty="0"/>
              <a:t>Important Da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8221" y="1323858"/>
            <a:ext cx="9871742" cy="4809545"/>
          </a:xfrm>
        </p:spPr>
        <p:txBody>
          <a:bodyPr/>
          <a:lstStyle/>
          <a:p>
            <a:r>
              <a:rPr lang="en-US" b="1" dirty="0"/>
              <a:t>Deadlines:</a:t>
            </a:r>
          </a:p>
          <a:p>
            <a:pPr lvl="1"/>
            <a:r>
              <a:rPr lang="en-US" sz="1800" dirty="0"/>
              <a:t>All proposal deadlines have passed. </a:t>
            </a:r>
          </a:p>
          <a:p>
            <a:pPr lvl="2"/>
            <a:r>
              <a:rPr lang="en-US" sz="1800" dirty="0"/>
              <a:t>If you haven’t submitted a proposal for 2024-2025, please contact us now! </a:t>
            </a:r>
          </a:p>
          <a:p>
            <a:pPr lvl="2"/>
            <a:r>
              <a:rPr lang="en-US" sz="1800" dirty="0"/>
              <a:t>Proposals received more than 1 week after the deadline incur a late fee of $500.</a:t>
            </a:r>
          </a:p>
          <a:p>
            <a:pPr lvl="1"/>
            <a:r>
              <a:rPr lang="en-US" sz="1800" dirty="0"/>
              <a:t>Michelle has reviewed most proposals at this point. </a:t>
            </a:r>
          </a:p>
          <a:p>
            <a:pPr lvl="2"/>
            <a:r>
              <a:rPr lang="en-US" sz="1800" dirty="0"/>
              <a:t>Please contact Michelle with any questions about your approval status.</a:t>
            </a:r>
          </a:p>
          <a:p>
            <a:pPr lvl="1"/>
            <a:r>
              <a:rPr lang="en-US" sz="1800" dirty="0"/>
              <a:t>We plan to send you your series site a minimum of 2 weeks before your first session.</a:t>
            </a:r>
          </a:p>
          <a:p>
            <a:pPr lvl="1"/>
            <a:r>
              <a:rPr lang="en-US" sz="1800" dirty="0"/>
              <a:t>Check ins for 2023-2024 are due by August 15, 2024.</a:t>
            </a:r>
          </a:p>
          <a:p>
            <a:pPr lvl="1"/>
            <a:endParaRPr lang="en-US" sz="1800" b="1" dirty="0"/>
          </a:p>
          <a:p>
            <a:r>
              <a:rPr lang="en-US" sz="1800" b="1" dirty="0"/>
              <a:t>Plan Ahead:</a:t>
            </a:r>
            <a:endParaRPr lang="en-US" sz="1800" dirty="0"/>
          </a:p>
          <a:p>
            <a:pPr lvl="1"/>
            <a:r>
              <a:rPr lang="en-US" sz="1800" dirty="0"/>
              <a:t>Proposals for </a:t>
            </a:r>
            <a:r>
              <a:rPr lang="en-US" sz="1800" i="1" dirty="0"/>
              <a:t>next year </a:t>
            </a:r>
            <a:r>
              <a:rPr lang="en-US" sz="1800" dirty="0"/>
              <a:t>will be due in:</a:t>
            </a:r>
          </a:p>
          <a:p>
            <a:pPr lvl="2"/>
            <a:r>
              <a:rPr lang="en-US" sz="1800" dirty="0"/>
              <a:t>February for series with a summer start date.</a:t>
            </a:r>
          </a:p>
          <a:p>
            <a:pPr lvl="2"/>
            <a:r>
              <a:rPr lang="en-US" sz="1800" dirty="0"/>
              <a:t>May for series with a fall start date.</a:t>
            </a:r>
          </a:p>
          <a:p>
            <a:pPr lvl="1"/>
            <a:endParaRPr lang="en-US" dirty="0"/>
          </a:p>
          <a:p>
            <a:r>
              <a:rPr lang="en-US" b="1" dirty="0"/>
              <a:t>Tuesday/Thursday Open Hours Meeting: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uesdays 10:30 to 11:30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ursday 2:00 to 3:00</a:t>
            </a:r>
            <a:b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upport Meeting Zoom link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7" tooltip="https://partners.zoom.us/j/85164198890"/>
              </a:rPr>
              <a:t>https://partners.zoom.us/j/85164198890</a:t>
            </a:r>
            <a:endParaRPr lang="en-US" sz="1800" u="sng" dirty="0">
              <a:solidFill>
                <a:srgbClr val="0563C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33363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5DC7955-2BBB-4603-ABFA-6603551A21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75675" y="269384"/>
            <a:ext cx="1866941" cy="186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83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4 Training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107" y="1036321"/>
            <a:ext cx="11020193" cy="5240874"/>
          </a:xfrm>
        </p:spPr>
        <p:txBody>
          <a:bodyPr/>
          <a:lstStyle/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b="1" dirty="0"/>
              <a:t>			</a:t>
            </a:r>
          </a:p>
          <a:p>
            <a:pPr marL="233363" lvl="1" indent="0">
              <a:buNone/>
            </a:pPr>
            <a:endParaRPr lang="en-US" dirty="0">
              <a:highlight>
                <a:srgbClr val="FFFF00"/>
              </a:highlight>
            </a:endParaRPr>
          </a:p>
          <a:p>
            <a:pPr marL="233363" lvl="1" indent="0">
              <a:buNone/>
            </a:pPr>
            <a:endParaRPr lang="en-US" dirty="0">
              <a:highlight>
                <a:srgbClr val="FFFF00"/>
              </a:highlight>
            </a:endParaRPr>
          </a:p>
          <a:p>
            <a:pPr marL="233363" lvl="1" indent="0">
              <a:buNone/>
            </a:pPr>
            <a:endParaRPr lang="en-US" dirty="0">
              <a:highlight>
                <a:srgbClr val="FFFF00"/>
              </a:highlight>
            </a:endParaRPr>
          </a:p>
          <a:p>
            <a:pPr marL="233363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7495FBEF-151A-FF11-36E8-F962275D8B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650978"/>
              </p:ext>
            </p:extLst>
          </p:nvPr>
        </p:nvGraphicFramePr>
        <p:xfrm>
          <a:off x="589079" y="1358538"/>
          <a:ext cx="11078813" cy="3289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6919">
                  <a:extLst>
                    <a:ext uri="{9D8B030D-6E8A-4147-A177-3AD203B41FA5}">
                      <a16:colId xmlns:a16="http://schemas.microsoft.com/office/drawing/2014/main" val="1960639092"/>
                    </a:ext>
                  </a:extLst>
                </a:gridCol>
                <a:gridCol w="5014429">
                  <a:extLst>
                    <a:ext uri="{9D8B030D-6E8A-4147-A177-3AD203B41FA5}">
                      <a16:colId xmlns:a16="http://schemas.microsoft.com/office/drawing/2014/main" val="1162147095"/>
                    </a:ext>
                  </a:extLst>
                </a:gridCol>
                <a:gridCol w="2777465">
                  <a:extLst>
                    <a:ext uri="{9D8B030D-6E8A-4147-A177-3AD203B41FA5}">
                      <a16:colId xmlns:a16="http://schemas.microsoft.com/office/drawing/2014/main" val="1510477774"/>
                    </a:ext>
                  </a:extLst>
                </a:gridCol>
              </a:tblGrid>
              <a:tr h="741341">
                <a:tc>
                  <a:txBody>
                    <a:bodyPr/>
                    <a:lstStyle/>
                    <a:p>
                      <a:r>
                        <a:rPr lang="en-US" dirty="0"/>
                        <a:t>Training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quired/Recommended Aud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ining 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1995075"/>
                  </a:ext>
                </a:extLst>
              </a:tr>
              <a:tr h="811272">
                <a:tc>
                  <a:txBody>
                    <a:bodyPr/>
                    <a:lstStyle/>
                    <a:p>
                      <a:r>
                        <a:rPr lang="en-US" b="1" dirty="0"/>
                        <a:t>Systemwide Grand Rounds Foru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commended for series that are not confiden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gust 8, 2024 (toda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5897064"/>
                  </a:ext>
                </a:extLst>
              </a:tr>
              <a:tr h="741341">
                <a:tc>
                  <a:txBody>
                    <a:bodyPr/>
                    <a:lstStyle/>
                    <a:p>
                      <a:r>
                        <a:rPr lang="en-US" b="1" dirty="0"/>
                        <a:t>Nuts and Bolts of Building and Submitting Sessions, 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commended for all new series admins and returning admins who would like a refresher on the proce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commended for anyone wanting to know more about repor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ptember 12, 2024</a:t>
                      </a:r>
                    </a:p>
                    <a:p>
                      <a:endParaRPr lang="en-US" sz="1100" dirty="0"/>
                    </a:p>
                    <a:p>
                      <a:r>
                        <a:rPr lang="en-US" sz="1100" dirty="0"/>
                        <a:t>https://partners.zoom.us/meeting/register/tZIkd-yoqDsuGNZmGP5PNGnxUbrjT6M8q8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18777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5D13F6C-46F6-AE39-1498-F233BFAC454C}"/>
              </a:ext>
            </a:extLst>
          </p:cNvPr>
          <p:cNvSpPr txBox="1"/>
          <p:nvPr/>
        </p:nvSpPr>
        <p:spPr>
          <a:xfrm>
            <a:off x="1598416" y="5447871"/>
            <a:ext cx="9211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/>
              <a:t>All meeting recordings and slides are archived on </a:t>
            </a:r>
            <a:r>
              <a:rPr lang="en-US" b="1" i="1" dirty="0">
                <a:ea typeface="+mn-lt"/>
                <a:cs typeface="+mn-lt"/>
                <a:hlinkClick r:id="rId7"/>
              </a:rPr>
              <a:t>https://cpd.partners.org/series-coordinators</a:t>
            </a:r>
            <a:r>
              <a:rPr lang="en-US" b="1" i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47853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525" y="424647"/>
            <a:ext cx="10902950" cy="956516"/>
          </a:xfrm>
        </p:spPr>
        <p:txBody>
          <a:bodyPr/>
          <a:lstStyle/>
          <a:p>
            <a:r>
              <a:rPr lang="en-US" dirty="0"/>
              <a:t>Joint Accredi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68" y="1181378"/>
            <a:ext cx="10902950" cy="511158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Mass General Brigham was awarded Joint Accreditation from December 6, 2021, through November 2025.</a:t>
            </a:r>
          </a:p>
          <a:p>
            <a:endParaRPr lang="en-US" sz="1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 Accreditation for Interprofessional Continuing Education™ offers organizations the opportunity to be simultaneously accredited to provide continuing education activities for multiple professions through a single, unified application process, fee structure, and set of accreditation standards.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en-US" sz="1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ly accredited providers may choose to award single profession or interprofessional continuing education credit (IPCE) to:</a:t>
            </a:r>
          </a:p>
          <a:p>
            <a:endParaRPr lang="en-US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4863" lvl="1" indent="-342900"/>
            <a:r>
              <a:rPr lang="en-US" sz="1800" dirty="0"/>
              <a:t>Athletic Trainers</a:t>
            </a:r>
          </a:p>
          <a:p>
            <a:pPr marL="804863" lvl="1" indent="-342900"/>
            <a:r>
              <a:rPr lang="en-US" sz="1800" dirty="0"/>
              <a:t>Dentists </a:t>
            </a:r>
          </a:p>
          <a:p>
            <a:pPr marL="804863" lvl="1" indent="-342900"/>
            <a:r>
              <a:rPr lang="en-US" sz="1800" dirty="0"/>
              <a:t>Dietitians</a:t>
            </a:r>
          </a:p>
          <a:p>
            <a:pPr marL="804863" lvl="1" indent="-342900"/>
            <a:r>
              <a:rPr lang="en-US" sz="1800" dirty="0"/>
              <a:t>Nurses</a:t>
            </a:r>
          </a:p>
          <a:p>
            <a:pPr marL="804863" lvl="1" indent="-342900"/>
            <a:r>
              <a:rPr lang="en-US" sz="1800" dirty="0"/>
              <a:t>Optometrists</a:t>
            </a:r>
          </a:p>
          <a:p>
            <a:pPr marL="804863" lvl="1" indent="-342900"/>
            <a:r>
              <a:rPr lang="en-US" sz="1800" dirty="0"/>
              <a:t>Physician Assistants</a:t>
            </a:r>
          </a:p>
          <a:p>
            <a:pPr marL="804863" lvl="1" indent="-342900"/>
            <a:r>
              <a:rPr lang="en-US" sz="1800" dirty="0"/>
              <a:t>Pharmacists</a:t>
            </a:r>
          </a:p>
          <a:p>
            <a:pPr marL="804863" lvl="1" indent="-342900"/>
            <a:r>
              <a:rPr lang="en-US" sz="1800" dirty="0"/>
              <a:t>Physicians</a:t>
            </a:r>
          </a:p>
          <a:p>
            <a:pPr marL="804863" lvl="1" indent="-342900"/>
            <a:r>
              <a:rPr lang="en-US" sz="1800" dirty="0"/>
              <a:t>Psychologists</a:t>
            </a:r>
          </a:p>
          <a:p>
            <a:pPr marL="804863" lvl="1" indent="-342900"/>
            <a:r>
              <a:rPr lang="en-US" sz="1800" dirty="0"/>
              <a:t>Social Workers</a:t>
            </a:r>
          </a:p>
          <a:p>
            <a:endParaRPr lang="en-US" dirty="0"/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18ECB658-BFF9-45AE-A563-C87806087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8377" y="3530132"/>
            <a:ext cx="3711303" cy="254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798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0131-8A6D-52E9-6395-AACEA17DB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wide Access to In-Hospital Se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96749-40B9-CA3F-6FA2-A5AA626EF1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458619"/>
            <a:ext cx="9961336" cy="1709928"/>
          </a:xfrm>
        </p:spPr>
        <p:txBody>
          <a:bodyPr/>
          <a:lstStyle/>
          <a:p>
            <a:r>
              <a:rPr lang="en-US" sz="2400" b="1" dirty="0"/>
              <a:t>Goal: Any MGB clinician will have all the information they need to easily participate in any MGB in-hospital series.</a:t>
            </a:r>
            <a:br>
              <a:rPr lang="en-US" b="1" dirty="0"/>
            </a:br>
            <a:r>
              <a:rPr lang="en-US" i="1" dirty="0"/>
              <a:t>Confidential series and sessions such as departmental M&amp;Ms &amp; Tumor Boards are excluded.</a:t>
            </a:r>
          </a:p>
          <a:p>
            <a:pPr marL="804863" lvl="1" indent="-342900"/>
            <a:endParaRPr lang="en-US" dirty="0"/>
          </a:p>
          <a:p>
            <a:pPr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B48C66C-95AB-417F-7B3A-BB32BCE761BB}"/>
              </a:ext>
            </a:extLst>
          </p:cNvPr>
          <p:cNvSpPr txBox="1">
            <a:spLocks/>
          </p:cNvSpPr>
          <p:nvPr/>
        </p:nvSpPr>
        <p:spPr>
          <a:xfrm>
            <a:off x="641350" y="2897312"/>
            <a:ext cx="10902950" cy="32261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We will provide information about MGB series via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 web page on Vitals that all MGB clinicians can easily acc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gular communications to MGB clinicians throughout the system, so that they know what educational opportunities are available to th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are doing this at the request of Dr. David Roberts, President of the Community Hospitals, Dr. Kevin Tucker, VP of Education, Mass General Brigham, and the Chief Academic Office Leadersh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mmunications from leadership to department chiefs is also taking place</a:t>
            </a:r>
          </a:p>
        </p:txBody>
      </p:sp>
    </p:spTree>
    <p:extLst>
      <p:ext uri="{BB962C8B-B14F-4D97-AF65-F5344CB8AC3E}">
        <p14:creationId xmlns:p14="http://schemas.microsoft.com/office/powerpoint/2010/main" val="4271519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4167B-40DA-1FC5-E4DC-4F57058DAD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Project Tasks &amp; Milesto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222376-7EF4-8A16-0306-627D2A9F03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178" y="1329741"/>
            <a:ext cx="10757122" cy="4760958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Develop &amp; implement communication, trainings and process changes for 160+ series administrators 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llaborate with Digital and Communications to stand up site on Vital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Collect and curate series information for site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aunch site: July 1, 2024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Add Series and sessions for Fall start</a:t>
            </a:r>
          </a:p>
          <a:p>
            <a:pPr marL="919163" lvl="1" indent="-457200">
              <a:lnSpc>
                <a:spcPct val="150000"/>
              </a:lnSpc>
            </a:pPr>
            <a:r>
              <a:rPr lang="en-US" dirty="0"/>
              <a:t>Market the site and the educational opportunities it provides access to throughout the system</a:t>
            </a:r>
          </a:p>
          <a:p>
            <a:pPr marL="919163" lvl="1" indent="-457200">
              <a:lnSpc>
                <a:spcPct val="150000"/>
              </a:lnSpc>
            </a:pPr>
            <a:r>
              <a:rPr lang="en-US" dirty="0"/>
              <a:t>Collect and curate upcoming session information for site calendar on a weekly basis</a:t>
            </a:r>
          </a:p>
          <a:p>
            <a:pPr marL="919163" lvl="1" indent="-457200">
              <a:lnSpc>
                <a:spcPct val="150000"/>
              </a:lnSpc>
            </a:pPr>
            <a:r>
              <a:rPr lang="en-US" dirty="0"/>
              <a:t>Troubleshoot with learners and department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5EA8566-40B1-0AFF-8594-8C4C0166E127}"/>
              </a:ext>
            </a:extLst>
          </p:cNvPr>
          <p:cNvGrpSpPr/>
          <p:nvPr/>
        </p:nvGrpSpPr>
        <p:grpSpPr>
          <a:xfrm rot="21054013">
            <a:off x="5582042" y="2336353"/>
            <a:ext cx="1842746" cy="1394248"/>
            <a:chOff x="5875593" y="2721832"/>
            <a:chExt cx="1685512" cy="1239178"/>
          </a:xfrm>
        </p:grpSpPr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7434E119-D15A-AD60-21C3-DCCA9AD54BEB}"/>
                </a:ext>
              </a:extLst>
            </p:cNvPr>
            <p:cNvSpPr/>
            <p:nvPr/>
          </p:nvSpPr>
          <p:spPr>
            <a:xfrm rot="10067985">
              <a:off x="5875593" y="2721832"/>
              <a:ext cx="1685512" cy="1239178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5E23B70-C876-228E-301D-2E90A3E6B5DE}"/>
                </a:ext>
              </a:extLst>
            </p:cNvPr>
            <p:cNvSpPr txBox="1"/>
            <p:nvPr/>
          </p:nvSpPr>
          <p:spPr>
            <a:xfrm rot="20857590">
              <a:off x="6116597" y="3121537"/>
              <a:ext cx="1408729" cy="3282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We are her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0471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0131-8A6D-52E9-6395-AACEA17DB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tals Site is Live!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F4CDF-43A0-37CE-163E-360E6EEBCAAE}"/>
              </a:ext>
            </a:extLst>
          </p:cNvPr>
          <p:cNvSpPr txBox="1"/>
          <p:nvPr/>
        </p:nvSpPr>
        <p:spPr>
          <a:xfrm>
            <a:off x="641350" y="1314124"/>
            <a:ext cx="524206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sz="5400" b="1" dirty="0">
                <a:solidFill>
                  <a:schemeClr val="accent1"/>
                </a:solidFill>
              </a:rPr>
              <a:t>Thank You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48538AD-1C14-39AE-2007-A8EF05B9D82E}"/>
              </a:ext>
            </a:extLst>
          </p:cNvPr>
          <p:cNvGrpSpPr/>
          <p:nvPr/>
        </p:nvGrpSpPr>
        <p:grpSpPr>
          <a:xfrm>
            <a:off x="1929975" y="201153"/>
            <a:ext cx="8128425" cy="5992178"/>
            <a:chOff x="2459399" y="458754"/>
            <a:chExt cx="8303369" cy="61426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354DE3E-403C-4101-A206-4C43D868AC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7013"/>
            <a:stretch/>
          </p:blipFill>
          <p:spPr>
            <a:xfrm>
              <a:off x="2459399" y="2890428"/>
              <a:ext cx="4064853" cy="3710935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4487D0D-1286-FDA7-C4BA-B00209203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16813" y="458754"/>
              <a:ext cx="4945955" cy="4563864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A8DFD3ED-5BBA-10E4-535C-98BDEDEEDE5E}"/>
              </a:ext>
            </a:extLst>
          </p:cNvPr>
          <p:cNvSpPr txBox="1"/>
          <p:nvPr/>
        </p:nvSpPr>
        <p:spPr>
          <a:xfrm>
            <a:off x="2980767" y="6287515"/>
            <a:ext cx="60972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dirty="0">
                <a:hlinkClick r:id="rId5"/>
              </a:rPr>
              <a:t>Systemwide Grand Rounds - Home (sharepoint.co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712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6BE83-7C71-A206-ED55-4876BED5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368734"/>
            <a:ext cx="10902950" cy="956516"/>
          </a:xfrm>
        </p:spPr>
        <p:txBody>
          <a:bodyPr/>
          <a:lstStyle/>
          <a:p>
            <a:r>
              <a:rPr lang="en-US" dirty="0"/>
              <a:t>Process Map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9EC1B4F-F0D4-2E0B-9903-46CC8A3F5A9B}"/>
              </a:ext>
            </a:extLst>
          </p:cNvPr>
          <p:cNvSpPr/>
          <p:nvPr/>
        </p:nvSpPr>
        <p:spPr>
          <a:xfrm>
            <a:off x="2944555" y="917510"/>
            <a:ext cx="1373363" cy="15693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partment coordinator gathers session inform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B9B348-8042-8204-0B43-69D0C7623EDB}"/>
              </a:ext>
            </a:extLst>
          </p:cNvPr>
          <p:cNvSpPr/>
          <p:nvPr/>
        </p:nvSpPr>
        <p:spPr>
          <a:xfrm>
            <a:off x="4609716" y="917510"/>
            <a:ext cx="1373363" cy="15693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ETHO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Department coordinator enters session inform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F6D356-6638-6EDC-6B58-61D01586E0D7}"/>
              </a:ext>
            </a:extLst>
          </p:cNvPr>
          <p:cNvSpPr/>
          <p:nvPr/>
        </p:nvSpPr>
        <p:spPr>
          <a:xfrm>
            <a:off x="4609716" y="4655375"/>
            <a:ext cx="1373363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VITAL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views Series opportunities and sees how to particip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07D1BE-24F7-51D0-EFEE-45B2700F810F}"/>
              </a:ext>
            </a:extLst>
          </p:cNvPr>
          <p:cNvSpPr/>
          <p:nvPr/>
        </p:nvSpPr>
        <p:spPr>
          <a:xfrm>
            <a:off x="1279394" y="4668834"/>
            <a:ext cx="1373363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PD or MGB sends out message/ promotion (Vitals, Tidbit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29BC9F-4AD2-CE0D-3055-B948E1402955}"/>
              </a:ext>
            </a:extLst>
          </p:cNvPr>
          <p:cNvSpPr/>
          <p:nvPr/>
        </p:nvSpPr>
        <p:spPr>
          <a:xfrm>
            <a:off x="2944555" y="4657951"/>
            <a:ext cx="1373363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ROMOT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at community hospital sees message/ promo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BF2E21-2EE6-1DFE-415B-367BFE2C7B11}"/>
              </a:ext>
            </a:extLst>
          </p:cNvPr>
          <p:cNvSpPr/>
          <p:nvPr/>
        </p:nvSpPr>
        <p:spPr>
          <a:xfrm>
            <a:off x="6274877" y="4661703"/>
            <a:ext cx="1373363" cy="15693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ESS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attends session on Zoom or other virtual meeting platfor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EED9A1-CC96-09E7-93A5-D6B1D82A0AC9}"/>
              </a:ext>
            </a:extLst>
          </p:cNvPr>
          <p:cNvSpPr/>
          <p:nvPr/>
        </p:nvSpPr>
        <p:spPr>
          <a:xfrm>
            <a:off x="7940038" y="4652799"/>
            <a:ext cx="1373363" cy="15693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EXT CODE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texts code for attendance and credi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4398FF-3942-B5A7-4210-F468F424EBB8}"/>
              </a:ext>
            </a:extLst>
          </p:cNvPr>
          <p:cNvSpPr/>
          <p:nvPr/>
        </p:nvSpPr>
        <p:spPr>
          <a:xfrm>
            <a:off x="9605200" y="4661703"/>
            <a:ext cx="1373363" cy="15693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ME CREDIT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Learner receives CME credit and is now on the series participant list in Etho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92BF899-2C8F-506A-5E80-3BBCB6FCE960}"/>
              </a:ext>
            </a:extLst>
          </p:cNvPr>
          <p:cNvCxnSpPr>
            <a:cxnSpLocks/>
            <a:stCxn id="6" idx="2"/>
            <a:endCxn id="16" idx="0"/>
          </p:cNvCxnSpPr>
          <p:nvPr/>
        </p:nvCxnSpPr>
        <p:spPr>
          <a:xfrm>
            <a:off x="5296398" y="2486896"/>
            <a:ext cx="0" cy="2964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426D4EF-2B7C-52FF-2175-E9026A109A1C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4317918" y="1702203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EEA0847-273A-9930-8825-E02510CC2C9E}"/>
              </a:ext>
            </a:extLst>
          </p:cNvPr>
          <p:cNvCxnSpPr/>
          <p:nvPr/>
        </p:nvCxnSpPr>
        <p:spPr>
          <a:xfrm>
            <a:off x="2652757" y="5442970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6AC7347-4379-DDDA-D36C-FF7B6DE11764}"/>
              </a:ext>
            </a:extLst>
          </p:cNvPr>
          <p:cNvCxnSpPr/>
          <p:nvPr/>
        </p:nvCxnSpPr>
        <p:spPr>
          <a:xfrm>
            <a:off x="4317918" y="5442970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3422C98-12FE-5594-417D-55B48EB46DF5}"/>
              </a:ext>
            </a:extLst>
          </p:cNvPr>
          <p:cNvCxnSpPr/>
          <p:nvPr/>
        </p:nvCxnSpPr>
        <p:spPr>
          <a:xfrm>
            <a:off x="5983079" y="5443891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600FEB1-70FD-6A27-5782-F7D2934D959C}"/>
              </a:ext>
            </a:extLst>
          </p:cNvPr>
          <p:cNvCxnSpPr/>
          <p:nvPr/>
        </p:nvCxnSpPr>
        <p:spPr>
          <a:xfrm>
            <a:off x="7648240" y="5443891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142C2B0-A4D3-CDFE-0364-5503760C9D6A}"/>
              </a:ext>
            </a:extLst>
          </p:cNvPr>
          <p:cNvCxnSpPr/>
          <p:nvPr/>
        </p:nvCxnSpPr>
        <p:spPr>
          <a:xfrm>
            <a:off x="9313402" y="5456619"/>
            <a:ext cx="291798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4D51EED5-4F63-77A4-D6EE-427C19E9423F}"/>
              </a:ext>
            </a:extLst>
          </p:cNvPr>
          <p:cNvSpPr/>
          <p:nvPr/>
        </p:nvSpPr>
        <p:spPr>
          <a:xfrm>
            <a:off x="9313402" y="1552615"/>
            <a:ext cx="1774019" cy="56851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Existing process. Has been modified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F0C88C9-BB0A-E29A-3218-D0403F1A08FA}"/>
              </a:ext>
            </a:extLst>
          </p:cNvPr>
          <p:cNvSpPr/>
          <p:nvPr/>
        </p:nvSpPr>
        <p:spPr>
          <a:xfrm>
            <a:off x="9313402" y="2269313"/>
            <a:ext cx="1774019" cy="5636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Existing process. 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No change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9AF96A2-7EEB-12D5-A3FA-30CD61D58873}"/>
              </a:ext>
            </a:extLst>
          </p:cNvPr>
          <p:cNvSpPr/>
          <p:nvPr/>
        </p:nvSpPr>
        <p:spPr>
          <a:xfrm>
            <a:off x="9313401" y="2965959"/>
            <a:ext cx="1774019" cy="5636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New process as of July 2024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1F59FB-D226-5F1E-29AE-C3E06CBC12FF}"/>
              </a:ext>
            </a:extLst>
          </p:cNvPr>
          <p:cNvSpPr/>
          <p:nvPr/>
        </p:nvSpPr>
        <p:spPr>
          <a:xfrm>
            <a:off x="4609717" y="2783300"/>
            <a:ext cx="1373362" cy="156938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MANUAL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CPD staff adds session to Vitals pag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FD7F548-77B5-1D5F-DA55-3C0F47869C94}"/>
              </a:ext>
            </a:extLst>
          </p:cNvPr>
          <p:cNvCxnSpPr>
            <a:cxnSpLocks/>
            <a:stCxn id="16" idx="2"/>
          </p:cNvCxnSpPr>
          <p:nvPr/>
        </p:nvCxnSpPr>
        <p:spPr>
          <a:xfrm flipH="1">
            <a:off x="5296397" y="4352686"/>
            <a:ext cx="1" cy="30526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2600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1_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4755</TotalTime>
  <Words>2325</Words>
  <Application>Microsoft Office PowerPoint</Application>
  <PresentationFormat>Widescreen</PresentationFormat>
  <Paragraphs>343</Paragraphs>
  <Slides>2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-apple-system</vt:lpstr>
      <vt:lpstr>Arial</vt:lpstr>
      <vt:lpstr>Calibri</vt:lpstr>
      <vt:lpstr>Georgia</vt:lpstr>
      <vt:lpstr>Roboto</vt:lpstr>
      <vt:lpstr>System Font Regular</vt:lpstr>
      <vt:lpstr>TwitterChirp</vt:lpstr>
      <vt:lpstr>Wingdings</vt:lpstr>
      <vt:lpstr>MGB_standard_template_082020</vt:lpstr>
      <vt:lpstr>1_MGB_standard_template_082020</vt:lpstr>
      <vt:lpstr>think-cell Slide</vt:lpstr>
      <vt:lpstr>Systemwide Grand Rounds Forum</vt:lpstr>
      <vt:lpstr>Agenda</vt:lpstr>
      <vt:lpstr>Important Dates</vt:lpstr>
      <vt:lpstr>2024 Training  </vt:lpstr>
      <vt:lpstr>Joint Accreditation</vt:lpstr>
      <vt:lpstr>Systemwide Access to In-Hospital Series</vt:lpstr>
      <vt:lpstr>Major Project Tasks &amp; Milestones</vt:lpstr>
      <vt:lpstr>Vitals Site is Live!</vt:lpstr>
      <vt:lpstr>Process Map</vt:lpstr>
      <vt:lpstr>Process Map</vt:lpstr>
      <vt:lpstr>Posting to Vitals Process</vt:lpstr>
      <vt:lpstr>Previous vs. Future State</vt:lpstr>
      <vt:lpstr>Previous vs. Future State</vt:lpstr>
      <vt:lpstr>Previous vs. Future State</vt:lpstr>
      <vt:lpstr>Information Needed for Site – Accomplished So Far</vt:lpstr>
      <vt:lpstr>What We Need from Series Directors and Coordinators</vt:lpstr>
      <vt:lpstr>Confidential/Private Education Meetings</vt:lpstr>
      <vt:lpstr>Engagement Statistics</vt:lpstr>
      <vt:lpstr>Questions/Issues That Have Come Up So Far</vt:lpstr>
      <vt:lpstr>What’s Next?</vt:lpstr>
      <vt:lpstr>What’s Next: Explore Automation &amp; Site Functionality</vt:lpstr>
      <vt:lpstr>What’s Next: Archived Recordings</vt:lpstr>
      <vt:lpstr>What’s Next: Alumni Initiative Opt-In</vt:lpstr>
      <vt:lpstr>Follow Us On Social Media!</vt:lpstr>
      <vt:lpstr>Thank you for attending today’s meeting!</vt:lpstr>
      <vt:lpstr>Your Feedback and Ques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lardi, Mary</dc:creator>
  <cp:lastModifiedBy>Desilets, Rose</cp:lastModifiedBy>
  <cp:revision>262</cp:revision>
  <dcterms:created xsi:type="dcterms:W3CDTF">2020-10-30T14:00:47Z</dcterms:created>
  <dcterms:modified xsi:type="dcterms:W3CDTF">2024-08-08T15:06:04Z</dcterms:modified>
</cp:coreProperties>
</file>